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0" r:id="rId3"/>
    <p:sldId id="261" r:id="rId4"/>
    <p:sldId id="272" r:id="rId5"/>
    <p:sldId id="273" r:id="rId6"/>
    <p:sldId id="274" r:id="rId7"/>
    <p:sldId id="264" r:id="rId8"/>
    <p:sldId id="268" r:id="rId9"/>
    <p:sldId id="270" r:id="rId10"/>
    <p:sldId id="271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02"/>
    <p:restoredTop sz="92260"/>
  </p:normalViewPr>
  <p:slideViewPr>
    <p:cSldViewPr snapToGrid="0" snapToObjects="1">
      <p:cViewPr varScale="1">
        <p:scale>
          <a:sx n="117" d="100"/>
          <a:sy n="117" d="100"/>
        </p:scale>
        <p:origin x="960" y="1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tx1"/>
                </a:solidFill>
                <a:latin typeface="Cambria"/>
                <a:ea typeface="+mn-ea"/>
                <a:cs typeface="Cambria"/>
              </a:defRPr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F872-3749-AE0D-C5135D4C46A8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72-3749-AE0D-C5135D4C46A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F872-3749-AE0D-C5135D4C46A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Cambria"/>
                    <a:ea typeface="+mn-ea"/>
                    <a:cs typeface="Cambria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1.400000000000006</c:v>
                </c:pt>
                <c:pt idx="1">
                  <c:v>11.1</c:v>
                </c:pt>
                <c:pt idx="2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72-3749-AE0D-C5135D4C4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74015056191604"/>
          <c:y val="0.44196737799226371"/>
          <c:w val="0.32287332504489602"/>
          <c:h val="0.2673245450747167"/>
        </c:manualLayout>
      </c:layout>
      <c:overlay val="0"/>
      <c:spPr>
        <a:noFill/>
        <a:ln w="12700"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6530728013836979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7499999999999999</c:v>
                </c:pt>
                <c:pt idx="1">
                  <c:v>0.48399999999999999</c:v>
                </c:pt>
                <c:pt idx="2">
                  <c:v>0.19600000000000001</c:v>
                </c:pt>
                <c:pt idx="3">
                  <c:v>0.14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5.291005291005290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4-C349-A5EC-1C47DA3A0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185</c:v>
                </c:pt>
                <c:pt idx="1">
                  <c:v>0.501</c:v>
                </c:pt>
                <c:pt idx="2">
                  <c:v>0.23</c:v>
                </c:pt>
                <c:pt idx="3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7FB9-C446-AD03-2C9339A74A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7FB9-C446-AD03-2C9339A74A5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FB9-C446-AD03-2C9339A74A5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.8</c:v>
                </c:pt>
                <c:pt idx="1">
                  <c:v>7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B9-C446-AD03-2C9339A74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1250065441705321"/>
          <c:y val="0.40648946912469863"/>
          <c:w val="0.14849910959008925"/>
          <c:h val="0.18754106682705299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5917190670147228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A1B8-6B42-9299-54D9FD1B8A0E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1B8-6B42-9299-54D9FD1B8A0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1B8-6B42-9299-54D9FD1B8A0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.4</c:v>
                </c:pt>
                <c:pt idx="1">
                  <c:v>76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B8-6B42-9299-54D9FD1B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175880111765E-2"/>
          <c:y val="3.2685958297292005E-2"/>
          <c:w val="0.79012719017705402"/>
          <c:h val="0.83638026962765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2800000000000001</c:v>
                </c:pt>
                <c:pt idx="1">
                  <c:v>8.4000000000000005E-2</c:v>
                </c:pt>
                <c:pt idx="2">
                  <c:v>7.0000000000000007E-2</c:v>
                </c:pt>
                <c:pt idx="3" formatCode="0.00%">
                  <c:v>2.240896358543417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7-A241-9757-0A7D5DDBF8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7.2033712299131292E-4"/>
                  <c:y val="5.57986582488697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207701419610285E-2"/>
                      <c:h val="6.182687280603480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217-A241-9757-0A7D5DDBF8A4}"/>
                </c:ext>
              </c:extLst>
            </c:dLbl>
            <c:dLbl>
              <c:idx val="2"/>
              <c:layout>
                <c:manualLayout>
                  <c:x val="-1.440560815997167E-3"/>
                  <c:y val="2.78982307688928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DB-8A45-9D54-F4B061606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53</c:v>
                </c:pt>
                <c:pt idx="1">
                  <c:v>0.105</c:v>
                </c:pt>
                <c:pt idx="2">
                  <c:v>8.3000000000000004E-2</c:v>
                </c:pt>
                <c:pt idx="3" formatCode="0.00%">
                  <c:v>2.015281961446160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7-A241-9757-0A7D5DD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5113864"/>
        <c:axId val="1845083768"/>
      </c:barChart>
      <c:catAx>
        <c:axId val="1845113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845083768"/>
        <c:crosses val="autoZero"/>
        <c:auto val="1"/>
        <c:lblAlgn val="ctr"/>
        <c:lblOffset val="100"/>
        <c:noMultiLvlLbl val="0"/>
      </c:catAx>
      <c:valAx>
        <c:axId val="1845083768"/>
        <c:scaling>
          <c:orientation val="minMax"/>
          <c:max val="0.3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45113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546511795414049"/>
          <c:y val="0.41383906015912975"/>
          <c:w val="0.13021319959786801"/>
          <c:h val="0.15000329506662624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8.57046065888623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2900000000000001</c:v>
                </c:pt>
                <c:pt idx="1">
                  <c:v>0.36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90-A84C-8301-08C9AED6BB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3.003003003003003E-3"/>
                  <c:y val="-2.856820219628739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0-A44A-A2E4-2F3A5A448514}"/>
                </c:ext>
              </c:extLst>
            </c:dLbl>
            <c:dLbl>
              <c:idx val="1"/>
              <c:layout>
                <c:manualLayout>
                  <c:x val="-1.5015015015015015E-3"/>
                  <c:y val="8.570460658886218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33200000000000002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90-A84C-8301-08C9AED6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03831064"/>
        <c:axId val="1905816536"/>
      </c:barChart>
      <c:catAx>
        <c:axId val="1803831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5816536"/>
        <c:crosses val="autoZero"/>
        <c:auto val="1"/>
        <c:lblAlgn val="ctr"/>
        <c:lblOffset val="100"/>
        <c:noMultiLvlLbl val="0"/>
      </c:catAx>
      <c:valAx>
        <c:axId val="1905816536"/>
        <c:scaling>
          <c:orientation val="minMax"/>
          <c:max val="0.6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038310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3513125201010895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A767-EC43-8893-33B462779E94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A767-EC43-8893-33B462779E94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A767-EC43-8893-33B462779E9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71.1%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767-EC43-8893-33B462779E9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1.099999999999994</c:v>
                </c:pt>
                <c:pt idx="1">
                  <c:v>14.9</c:v>
                </c:pt>
                <c:pt idx="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67-EC43-8893-33B462779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49.5%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5E5-2C4A-99A4-B10D66CC300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">
                  <c:v>37.9</c:v>
                </c:pt>
                <c:pt idx="1">
                  <c:v>12.6</c:v>
                </c:pt>
                <c:pt idx="2">
                  <c:v>4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5815867512794932"/>
          <c:y val="0.1384836773963905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38.200000000000003</c:v>
                </c:pt>
                <c:pt idx="1">
                  <c:v>10.8</c:v>
                </c:pt>
                <c:pt idx="2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2.6</c:v>
                </c:pt>
                <c:pt idx="1">
                  <c:v>29.9</c:v>
                </c:pt>
                <c:pt idx="2">
                  <c:v>2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5815867512794932"/>
          <c:y val="0.1356776447354960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ay Person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.8</c:v>
                </c:pt>
                <c:pt idx="1">
                  <c:v>29.7</c:v>
                </c:pt>
                <c:pt idx="2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dLbl>
              <c:idx val="0"/>
              <c:layout>
                <c:manualLayout>
                  <c:x val="-0.13853885875600802"/>
                  <c:y val="-0.1264225977985237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1.3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5E5-2C4A-99A4-B10D66CC3007}"/>
                </c:ext>
              </c:extLst>
            </c:dLbl>
            <c:dLbl>
              <c:idx val="1"/>
              <c:layout>
                <c:manualLayout>
                  <c:x val="0.13103299140598842"/>
                  <c:y val="-1.021285414838786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.1%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5E5-2C4A-99A4-B10D66CC30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3.1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5E5-2C4A-99A4-B10D66CC300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1299999999999997</c:v>
                </c:pt>
                <c:pt idx="1">
                  <c:v>7.0553163299105659E-2</c:v>
                </c:pt>
                <c:pt idx="2">
                  <c:v>0.23120943245967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5815867512794932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dLbl>
              <c:idx val="1"/>
              <c:layout>
                <c:manualLayout>
                  <c:x val="0.1186735317010178"/>
                  <c:y val="-7.324584845258357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A5-F443-8941-926C5B49E51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59861976847729292</c:v>
                </c:pt>
                <c:pt idx="1">
                  <c:v>0.1191006233303651</c:v>
                </c:pt>
                <c:pt idx="2">
                  <c:v>0.28227960819234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4615392883992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9700000000000002</c:v>
                </c:pt>
                <c:pt idx="1">
                  <c:v>0.16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1.5360983102918587E-3"/>
                  <c:y val="-1.94446674200934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158157649648636E-2"/>
                      <c:h val="3.726400640070131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F05-7443-BC7E-0D728FDF7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42499999999999999</c:v>
                </c:pt>
                <c:pt idx="1">
                  <c:v>0.13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0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4/23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9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4/2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25 National Report Summary: Michiga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1359C62-056C-F409-CD2B-62E7508D16C9}"/>
              </a:ext>
            </a:extLst>
          </p:cNvPr>
          <p:cNvSpPr/>
          <p:nvPr/>
        </p:nvSpPr>
        <p:spPr>
          <a:xfrm>
            <a:off x="2002971" y="4169229"/>
            <a:ext cx="5138057" cy="17308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E3B8EC-5B01-F2E9-9DA2-DF0E37106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59" y="4162698"/>
            <a:ext cx="5212080" cy="173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750535535"/>
              </p:ext>
            </p:extLst>
          </p:nvPr>
        </p:nvGraphicFramePr>
        <p:xfrm>
          <a:off x="342900" y="1435623"/>
          <a:ext cx="8458200" cy="444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and/or AED application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B1FE47-AAFB-00D3-5B3C-7E8B6DF9A90F}"/>
              </a:ext>
            </a:extLst>
          </p:cNvPr>
          <p:cNvSpPr/>
          <p:nvPr/>
        </p:nvSpPr>
        <p:spPr>
          <a:xfrm>
            <a:off x="87086" y="6128657"/>
            <a:ext cx="1937657" cy="6531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790004-0E90-E9E7-1891-285B1B8ABD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687317576"/>
              </p:ext>
            </p:extLst>
          </p:nvPr>
        </p:nvGraphicFramePr>
        <p:xfrm>
          <a:off x="-113875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568D3DC-4C98-674C-BF38-9C10CF4CA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6742622"/>
              </p:ext>
            </p:extLst>
          </p:nvPr>
        </p:nvGraphicFramePr>
        <p:xfrm>
          <a:off x="5335199" y="1417638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86A755F-D663-FB34-635E-6D204DA47B6F}"/>
              </a:ext>
            </a:extLst>
          </p:cNvPr>
          <p:cNvSpPr/>
          <p:nvPr/>
        </p:nvSpPr>
        <p:spPr>
          <a:xfrm>
            <a:off x="108857" y="6150429"/>
            <a:ext cx="1905000" cy="5987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ABDB4-C198-9E4B-A192-EB73DB743A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 Status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111591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1403178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49FDF9D-0272-F547-9828-C5E575C04A4B}"/>
              </a:ext>
            </a:extLst>
          </p:cNvPr>
          <p:cNvSpPr/>
          <p:nvPr/>
        </p:nvSpPr>
        <p:spPr>
          <a:xfrm>
            <a:off x="0" y="6139543"/>
            <a:ext cx="2046514" cy="64225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966E85-D536-6123-ED0A-BF2EFB7D17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9948862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655265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46DFB5E-726B-C790-8B14-0F43324BB27C}"/>
              </a:ext>
            </a:extLst>
          </p:cNvPr>
          <p:cNvSpPr/>
          <p:nvPr/>
        </p:nvSpPr>
        <p:spPr>
          <a:xfrm>
            <a:off x="108857" y="6063343"/>
            <a:ext cx="1981200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08F762-7651-2ED6-5508-7D67857D98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955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57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as an AED Applied </a:t>
            </a:r>
            <a:br>
              <a:rPr lang="en-US" dirty="0"/>
            </a:br>
            <a:r>
              <a:rPr lang="en-US" dirty="0"/>
              <a:t>prior to EMS arrival?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8254217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3328226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EF1A5DD-ED53-6DF3-6241-D42B84892CB1}"/>
              </a:ext>
            </a:extLst>
          </p:cNvPr>
          <p:cNvSpPr/>
          <p:nvPr/>
        </p:nvSpPr>
        <p:spPr>
          <a:xfrm>
            <a:off x="119743" y="6096000"/>
            <a:ext cx="1839686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D46B4E-016E-7C2E-5AF8-F4172E668F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04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 Intervention Rates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745425335"/>
              </p:ext>
            </p:extLst>
          </p:nvPr>
        </p:nvGraphicFramePr>
        <p:xfrm>
          <a:off x="533400" y="1500809"/>
          <a:ext cx="8267700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7F5F705-F5A9-164E-97D6-785C209DE5CA}"/>
              </a:ext>
            </a:extLst>
          </p:cNvPr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Bystander CPR rate excludes 911 Responder Witnessed, Nursing Home, and Healthcare Facility arr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Public AED Use rate excludes 911 Responder Witnessed, Home/Residence, Nursing Home, and Healthcare Facility arrest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1B1225-010C-C838-F7AD-2EF32833B0D8}"/>
              </a:ext>
            </a:extLst>
          </p:cNvPr>
          <p:cNvSpPr/>
          <p:nvPr/>
        </p:nvSpPr>
        <p:spPr>
          <a:xfrm>
            <a:off x="119743" y="6155979"/>
            <a:ext cx="1828800" cy="676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3A53FE-A77D-4FBA-F7C0-E0264B0A63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704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715005313"/>
              </p:ext>
            </p:extLst>
          </p:nvPr>
        </p:nvGraphicFramePr>
        <p:xfrm>
          <a:off x="419100" y="1417638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1177639-E195-82E8-884B-49D0E8F6737A}"/>
              </a:ext>
            </a:extLst>
          </p:cNvPr>
          <p:cNvSpPr/>
          <p:nvPr/>
        </p:nvSpPr>
        <p:spPr>
          <a:xfrm>
            <a:off x="108857" y="6106886"/>
            <a:ext cx="1807029" cy="664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9CDF21-2627-8CD9-EF90-0DDBD3E186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 in the field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353415540"/>
              </p:ext>
            </p:extLst>
          </p:nvPr>
        </p:nvGraphicFramePr>
        <p:xfrm>
          <a:off x="152400" y="1371600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B0789E3-637F-A244-B2FD-3DD00938CB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6298622"/>
              </p:ext>
            </p:extLst>
          </p:nvPr>
        </p:nvGraphicFramePr>
        <p:xfrm>
          <a:off x="5098774" y="1371599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4450DF7-E407-5F2A-2C43-3998A7C5CD86}"/>
              </a:ext>
            </a:extLst>
          </p:cNvPr>
          <p:cNvSpPr/>
          <p:nvPr/>
        </p:nvSpPr>
        <p:spPr>
          <a:xfrm>
            <a:off x="152400" y="6150429"/>
            <a:ext cx="1796143" cy="5878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4BEF47-D401-5A10-5A27-497F8834BB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98493771"/>
              </p:ext>
            </p:extLst>
          </p:nvPr>
        </p:nvGraphicFramePr>
        <p:xfrm>
          <a:off x="188843" y="1550504"/>
          <a:ext cx="8816011" cy="455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68B68BC2-96F1-8278-E9A7-470DB226F89A}"/>
              </a:ext>
            </a:extLst>
          </p:cNvPr>
          <p:cNvSpPr/>
          <p:nvPr/>
        </p:nvSpPr>
        <p:spPr>
          <a:xfrm>
            <a:off x="108857" y="6183086"/>
            <a:ext cx="1817914" cy="533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BAE253-7A78-1678-54C8-6E3B7F291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86" y="6172200"/>
            <a:ext cx="18288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9</TotalTime>
  <Words>153</Words>
  <Application>Microsoft Macintosh PowerPoint</Application>
  <PresentationFormat>On-screen Show (4:3)</PresentationFormat>
  <Paragraphs>40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CARES 2025 National Report Summary: Michigan</vt:lpstr>
      <vt:lpstr>Location of Arrest</vt:lpstr>
      <vt:lpstr>Arrest Witness Status</vt:lpstr>
      <vt:lpstr>Who Initiated CPR</vt:lpstr>
      <vt:lpstr>Was an AED Applied  prior to EMS arrival?</vt:lpstr>
      <vt:lpstr>Bystander Intervention Rates</vt:lpstr>
      <vt:lpstr>First Arrest Rhythm</vt:lpstr>
      <vt:lpstr>Sustained ROSC in the field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Maloof, Carisa U.</cp:lastModifiedBy>
  <cp:revision>58</cp:revision>
  <dcterms:created xsi:type="dcterms:W3CDTF">2018-11-12T17:36:49Z</dcterms:created>
  <dcterms:modified xsi:type="dcterms:W3CDTF">2026-04-23T16:28:18Z</dcterms:modified>
</cp:coreProperties>
</file>